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88" r:id="rId4"/>
    <p:sldId id="287" r:id="rId5"/>
    <p:sldId id="289" r:id="rId6"/>
    <p:sldId id="290" r:id="rId7"/>
    <p:sldId id="27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652" autoAdjust="0"/>
  </p:normalViewPr>
  <p:slideViewPr>
    <p:cSldViewPr snapToGrid="0">
      <p:cViewPr varScale="1">
        <p:scale>
          <a:sx n="82" d="100"/>
          <a:sy n="82" d="100"/>
        </p:scale>
        <p:origin x="72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FC90F-9F23-4115-8B9D-49DB6A25180C}" type="datetimeFigureOut">
              <a:rPr lang="en-US" smtClean="0"/>
              <a:t>4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7F814-5BF9-4628-BB3A-E3A6846B20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919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55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27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37F814-5BF9-4628-BB3A-E3A6846B209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35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54922-F74E-4F9F-AFC9-1FF220FC29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CA179F-7BF3-41BA-B9F3-7A7C138D31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20C62-7F96-4BE3-B513-996AF6718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2A82-5219-4A4C-BDA7-1D8642E23E87}" type="datetimeFigureOut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073CB-FF11-4ED6-80CE-6DAB6BEDC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451EF-26CD-4D87-A6A2-7BCFA642C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137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73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9"/>
            <a:ext cx="11252200" cy="290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rgbClr val="009FDA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20E5A9-0AD8-42FA-A41B-4FEFB3D9BB49}"/>
              </a:ext>
            </a:extLst>
          </p:cNvPr>
          <p:cNvCxnSpPr/>
          <p:nvPr userDrawn="1"/>
        </p:nvCxnSpPr>
        <p:spPr>
          <a:xfrm>
            <a:off x="500408" y="1027604"/>
            <a:ext cx="110642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56692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BB10AA-E2C9-438F-8F6A-0C485EB53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5C2AB0-927C-4268-BFB4-2E09ED9A3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3906B5-E134-45ED-9118-FE78D8C055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62A82-5219-4A4C-BDA7-1D8642E23E87}" type="datetimeFigureOut">
              <a:rPr lang="en-US" smtClean="0"/>
              <a:t>4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170AD-4D4A-4046-98D2-05A94D129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399CF0-74DF-4CBF-B90A-B4EB430A7B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997F63-47E6-4B51-B284-34B9DF4719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911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fld id="{C58DF478-B544-4ED8-9ED4-6A2648E2D233}" type="slidenum">
              <a:rPr kumimoji="0" lang="en-US" sz="6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t>‹#›</a:t>
            </a:fld>
            <a:endParaRPr kumimoji="0" lang="en-US" sz="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12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Zigzag DNA">
            <a:extLst>
              <a:ext uri="{FF2B5EF4-FFF2-40B4-BE49-F238E27FC236}">
                <a16:creationId xmlns:a16="http://schemas.microsoft.com/office/drawing/2014/main" id="{28D03B02-12C0-4774-8D48-4F27B3AC4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124" y="145234"/>
            <a:ext cx="1477683" cy="71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A15345-9A4E-4833-8805-B1A39BFC12C3}"/>
              </a:ext>
            </a:extLst>
          </p:cNvPr>
          <p:cNvSpPr txBox="1"/>
          <p:nvPr/>
        </p:nvSpPr>
        <p:spPr>
          <a:xfrm>
            <a:off x="363124" y="5327771"/>
            <a:ext cx="989192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 swarm of robots for encouraging desired social behaviors</a:t>
            </a:r>
          </a:p>
          <a:p>
            <a:endParaRPr lang="en-US" sz="1600" dirty="0"/>
          </a:p>
          <a:p>
            <a:r>
              <a:rPr lang="en-US" sz="1600" dirty="0"/>
              <a:t>Serge Saaybi</a:t>
            </a:r>
          </a:p>
          <a:p>
            <a:r>
              <a:rPr lang="en-US" sz="1600" dirty="0"/>
              <a:t>Thesis Status update report</a:t>
            </a:r>
            <a:endParaRPr lang="en-US" sz="1400" dirty="0"/>
          </a:p>
          <a:p>
            <a:r>
              <a:rPr lang="en-US" sz="1400" dirty="0"/>
              <a:t>TU Delft | 13 April 2021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916756E-1BD3-401F-8FEA-18C59F612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976" y="1665976"/>
            <a:ext cx="3526047" cy="352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18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C364DB-D9A0-4A3D-8D42-1CA4C4849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 swarm of robots for encouraging desired social behavio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312DDE-1B9E-44A4-8022-110E3FA9C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 has been do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C43470-B510-47E3-A3A6-8146E23022B7}"/>
              </a:ext>
            </a:extLst>
          </p:cNvPr>
          <p:cNvSpPr txBox="1"/>
          <p:nvPr/>
        </p:nvSpPr>
        <p:spPr>
          <a:xfrm>
            <a:off x="469900" y="1182231"/>
            <a:ext cx="11252200" cy="1585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SzPct val="100000"/>
            </a:pPr>
            <a:r>
              <a:rPr lang="en-US" sz="1200" u="sng" dirty="0"/>
              <a:t>There are two main parts considered:</a:t>
            </a:r>
          </a:p>
          <a:p>
            <a:pPr algn="just">
              <a:spcBef>
                <a:spcPts val="600"/>
              </a:spcBef>
              <a:buSzPct val="100000"/>
            </a:pPr>
            <a:endParaRPr lang="en-US" sz="1200" dirty="0"/>
          </a:p>
          <a:p>
            <a:pPr marL="228600" indent="-228600" algn="just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200" b="1" dirty="0"/>
              <a:t>Navigation: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Navigate the robot towards a certain goal using DRL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Reaching the destination whilst avoiding stationary and non-stationary obstacles -- Collision and crowd avoidance</a:t>
            </a:r>
          </a:p>
          <a:p>
            <a:pPr marL="228600" indent="-228600" algn="just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1200" b="1" dirty="0"/>
              <a:t>Image recognition</a:t>
            </a:r>
            <a:r>
              <a:rPr lang="en-US" sz="1200" dirty="0"/>
              <a:t>:  Social distancing detection system with the ability to track the robot’s nearby pedestrian groups</a:t>
            </a:r>
            <a:endParaRPr lang="en-US" sz="1200" b="1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CEF47AC-1254-4070-8591-0F2C5BBCDF0A}"/>
              </a:ext>
            </a:extLst>
          </p:cNvPr>
          <p:cNvCxnSpPr/>
          <p:nvPr/>
        </p:nvCxnSpPr>
        <p:spPr>
          <a:xfrm>
            <a:off x="1132513" y="3429000"/>
            <a:ext cx="951311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6713C9F-48B6-465C-A830-D4B3A9F41896}"/>
              </a:ext>
            </a:extLst>
          </p:cNvPr>
          <p:cNvSpPr txBox="1"/>
          <p:nvPr/>
        </p:nvSpPr>
        <p:spPr>
          <a:xfrm>
            <a:off x="469900" y="3641603"/>
            <a:ext cx="11252200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Finished the “CS231n: Convolutional Neural Networks for Visual Recognition” course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Identified several papers on: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Pedestrian and objects detection and tracking algorithm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Mapping and Localization algorithm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Detecting social distancing breaches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Robot navigation algorithm for dense crowds:</a:t>
            </a:r>
          </a:p>
          <a:p>
            <a:pPr marL="1085850" lvl="2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Using an image</a:t>
            </a:r>
          </a:p>
          <a:p>
            <a:pPr marL="1085850" lvl="2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/>
              <a:t>Using a predefined goal and the distance to it</a:t>
            </a:r>
          </a:p>
          <a:p>
            <a:pPr marL="1085850" lvl="2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b="1" dirty="0" err="1"/>
              <a:t>Mapless</a:t>
            </a:r>
            <a:r>
              <a:rPr lang="en-US" sz="1200" b="1" dirty="0"/>
              <a:t> or using a map</a:t>
            </a:r>
          </a:p>
        </p:txBody>
      </p:sp>
    </p:spTree>
    <p:extLst>
      <p:ext uri="{BB962C8B-B14F-4D97-AF65-F5344CB8AC3E}">
        <p14:creationId xmlns:p14="http://schemas.microsoft.com/office/powerpoint/2010/main" val="228874176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EEAB9F-05CB-4AB3-BF12-CC88D1E919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in hardware and algorithms identified for navig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408183-2A6F-4E00-BD14-D2262EA82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t literature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4E6DE1CB-85BA-4866-9C07-46B2036C62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561570"/>
              </p:ext>
            </p:extLst>
          </p:nvPr>
        </p:nvGraphicFramePr>
        <p:xfrm>
          <a:off x="469900" y="1070791"/>
          <a:ext cx="11252200" cy="56617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813050">
                  <a:extLst>
                    <a:ext uri="{9D8B030D-6E8A-4147-A177-3AD203B41FA5}">
                      <a16:colId xmlns:a16="http://schemas.microsoft.com/office/drawing/2014/main" val="4169610410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1450637809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1203439104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4173434572"/>
                    </a:ext>
                  </a:extLst>
                </a:gridCol>
              </a:tblGrid>
              <a:tr h="3077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um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RL Algorith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ardw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7897932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/>
                        <a:t>Vision-based Navigation Using Deep Reinforcement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Visual </a:t>
                      </a:r>
                      <a:r>
                        <a:rPr lang="en-US" sz="1200" dirty="0" err="1"/>
                        <a:t>mapless</a:t>
                      </a:r>
                      <a:r>
                        <a:rPr lang="en-US" sz="1200" dirty="0"/>
                        <a:t> navig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2CAT-VN algorithm  based on the batched A2C algorith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t was not applied to mobile robots in the real-wor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9592001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/>
                        <a:t>Deep Reinforcement learning for real autonomous mobile robot navigation in indoor environ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Mapless</a:t>
                      </a:r>
                      <a:r>
                        <a:rPr lang="en-US" sz="1200" dirty="0"/>
                        <a:t> navig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robot input is the fused data from a 2D laser scanner and a RGB-D camera as well as the orientation to the goa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are the linear and angular velocities for the robo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PU/GPU version of the Asynchronous Advantage Actor-Critic algorithm (GA3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Turtlebot</a:t>
                      </a:r>
                      <a:r>
                        <a:rPr lang="en-US" sz="1200" dirty="0"/>
                        <a:t> 2 (</a:t>
                      </a:r>
                      <a:r>
                        <a:rPr lang="en-US" sz="1200" dirty="0" err="1"/>
                        <a:t>Kobuki</a:t>
                      </a:r>
                      <a:r>
                        <a:rPr lang="en-US" sz="1200" dirty="0"/>
                        <a:t>) robo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brain of the robot consists of an </a:t>
                      </a:r>
                      <a:r>
                        <a:rPr lang="en-US" sz="1200" dirty="0" err="1"/>
                        <a:t>Nvida</a:t>
                      </a:r>
                      <a:r>
                        <a:rPr lang="en-US" sz="1200" dirty="0"/>
                        <a:t> Jetson TX1 board (Quad-core ARM Cortex-A57, 256 core Maxwell GPU, 4GB LPDDR4 RAM, 16GB eMMC storage)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okuyo UST-20LX (compact 2D laser scanner)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tel </a:t>
                      </a:r>
                      <a:r>
                        <a:rPr lang="en-US" sz="1200" dirty="0" err="1"/>
                        <a:t>Realsense</a:t>
                      </a:r>
                      <a:r>
                        <a:rPr lang="en-US" sz="1200" dirty="0"/>
                        <a:t> D435 (RGB-D senso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209775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/>
                        <a:t>Deep Reinforcement Learning of Navigation in a Complex and Crowded Environment with a Limited Field of 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Existing DRL methods impose the usage of high-cost lidar devices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Replaces expensive lidar devices with affordable depth camer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STM agent with Local-Map Critic (LSTM-LMC: novel DRL method to learn efficient navigation in a complex  environment with a limited F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tel </a:t>
                      </a:r>
                      <a:r>
                        <a:rPr lang="en-US" sz="1200" dirty="0" err="1"/>
                        <a:t>Realsense</a:t>
                      </a:r>
                      <a:r>
                        <a:rPr lang="en-US" sz="1200" dirty="0"/>
                        <a:t> D435 depth camer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VIDIA Jetson TX2 as a process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847413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 err="1"/>
                        <a:t>CrowdMove</a:t>
                      </a:r>
                      <a:r>
                        <a:rPr lang="en-US" sz="1200" dirty="0"/>
                        <a:t>: Autonomous </a:t>
                      </a:r>
                      <a:r>
                        <a:rPr lang="en-US" sz="1200" dirty="0" err="1"/>
                        <a:t>Mapless</a:t>
                      </a:r>
                      <a:r>
                        <a:rPr lang="en-US" sz="1200" dirty="0"/>
                        <a:t> Navigation in Crowded Scenarios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Mapless</a:t>
                      </a:r>
                      <a:r>
                        <a:rPr lang="en-US" sz="1200" dirty="0"/>
                        <a:t> navigation polic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Robots do not rely on the prior knowledge of surrounding environme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robot drives towards a certain goal—inputs: lidar scan measurements, goal  position and velocit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• Proximal Policy Optimization (PPO)</a:t>
                      </a:r>
                    </a:p>
                    <a:p>
                      <a:r>
                        <a:rPr lang="en-US" sz="1200" dirty="0"/>
                        <a:t>• The network has the scan measurements </a:t>
                      </a:r>
                      <a:r>
                        <a:rPr lang="en-US" sz="1200" dirty="0" err="1"/>
                        <a:t>stz</a:t>
                      </a:r>
                      <a:r>
                        <a:rPr lang="en-US" sz="1200" dirty="0"/>
                        <a:t>, relative goal  position stg and current velocity </a:t>
                      </a:r>
                      <a:r>
                        <a:rPr lang="en-US" sz="1200" dirty="0" err="1"/>
                        <a:t>stv</a:t>
                      </a:r>
                      <a:r>
                        <a:rPr lang="en-US" sz="1200" dirty="0"/>
                        <a:t> as inputs, and outputs the mean velocity </a:t>
                      </a:r>
                      <a:r>
                        <a:rPr lang="en-US" sz="1200" dirty="0" err="1"/>
                        <a:t>vtmean</a:t>
                      </a:r>
                      <a:endParaRPr lang="en-US" sz="1200" dirty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Turtlebot</a:t>
                      </a:r>
                      <a:endParaRPr lang="en-US" sz="12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okuyo urg-04lx 2D LiDA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Pozyx</a:t>
                      </a:r>
                      <a:r>
                        <a:rPr lang="en-US" sz="1200" dirty="0"/>
                        <a:t> Ultra-</a:t>
                      </a:r>
                      <a:r>
                        <a:rPr lang="en-US" sz="1200" dirty="0" err="1"/>
                        <a:t>WideBand</a:t>
                      </a:r>
                      <a:r>
                        <a:rPr lang="en-US" sz="1200" dirty="0"/>
                        <a:t>(UWB) modules as the indoor localization syste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vidia Jetson TX1- onboard compu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3081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3606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EEAB9F-05CB-4AB3-BF12-CC88D1E919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in hardware and algorithms identified for navig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408183-2A6F-4E00-BD14-D2262EA82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t literature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4E6DE1CB-85BA-4866-9C07-46B2036C62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996483"/>
              </p:ext>
            </p:extLst>
          </p:nvPr>
        </p:nvGraphicFramePr>
        <p:xfrm>
          <a:off x="469900" y="1070791"/>
          <a:ext cx="11252200" cy="5702662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813050">
                  <a:extLst>
                    <a:ext uri="{9D8B030D-6E8A-4147-A177-3AD203B41FA5}">
                      <a16:colId xmlns:a16="http://schemas.microsoft.com/office/drawing/2014/main" val="4169610410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1450637809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1203439104"/>
                    </a:ext>
                  </a:extLst>
                </a:gridCol>
                <a:gridCol w="2813050">
                  <a:extLst>
                    <a:ext uri="{9D8B030D-6E8A-4147-A177-3AD203B41FA5}">
                      <a16:colId xmlns:a16="http://schemas.microsoft.com/office/drawing/2014/main" val="4173434572"/>
                    </a:ext>
                  </a:extLst>
                </a:gridCol>
              </a:tblGrid>
              <a:tr h="3077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um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RL Algorith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ardw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7897932"/>
                  </a:ext>
                </a:extLst>
              </a:tr>
              <a:tr h="345850">
                <a:tc>
                  <a:txBody>
                    <a:bodyPr/>
                    <a:lstStyle/>
                    <a:p>
                      <a:r>
                        <a:rPr lang="en-US" sz="1200" dirty="0"/>
                        <a:t>Robot Navigation in Crowded Environments Using Deep Reinforcement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mbined imitation learning and DRL for motion planning in crowded and cluttered environmen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assing static obstacles and pedestrians separately to the model as to eliminate the need to model static obstacles as pedestrian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Asynchronous advantage actor-critic (A3C) framewor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goal is defined and then we check the distance with it --  the distance between the robot’s center point and the goal in 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Jackal robo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uster 3D Lidar used to generate the angular map represent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Sevensense</a:t>
                      </a:r>
                      <a:r>
                        <a:rPr lang="en-US" sz="1200" dirty="0"/>
                        <a:t> grayscale stereo camera in the front used for dynamic obstacle detection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tel NUC, with an Intel Core i7-8559U CPU with 4 cores and 2 threads per core, which is mounted on the robot directly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864781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 err="1"/>
                        <a:t>DenseCAvoid</a:t>
                      </a:r>
                      <a:r>
                        <a:rPr lang="en-US" sz="1200" dirty="0"/>
                        <a:t>: Real-time Navigation in Dense Crowds using Anticipatory Behavi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avigation algorithm by anticipating pedestrian behaviors. Combines DRL with explicit pedestrian trajectory prediction for navig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Avoid regions where several pedestrians might be hea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ximal Policy Optimization (PPO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edestrian prediction using Yolov3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rajectory prediction algorithm called </a:t>
                      </a:r>
                      <a:r>
                        <a:rPr lang="en-US" sz="1200" dirty="0" err="1"/>
                        <a:t>RobustTP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tel Xeon 3.6GHz processor and an Nvidia GeForce RTX 2080Ti GPU for training the polic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okuyo 2-D lidar and the </a:t>
                      </a:r>
                      <a:r>
                        <a:rPr lang="en-US" sz="1200" dirty="0" err="1"/>
                        <a:t>Orbbec</a:t>
                      </a:r>
                      <a:r>
                        <a:rPr lang="en-US" sz="1200" dirty="0"/>
                        <a:t> Astra depth camer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/>
                        <a:t>Turtlebot</a:t>
                      </a:r>
                      <a:r>
                        <a:rPr lang="en-US" sz="1200" dirty="0"/>
                        <a:t> 2 robo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047059"/>
                  </a:ext>
                </a:extLst>
              </a:tr>
              <a:tr h="507757">
                <a:tc>
                  <a:txBody>
                    <a:bodyPr/>
                    <a:lstStyle/>
                    <a:p>
                      <a:r>
                        <a:rPr lang="en-US" sz="1200" dirty="0"/>
                        <a:t>Crowd-Robot Interaction: Crowd-aware Robot Navigation with Attention-based Deep Reinforcement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dirty="0"/>
                        <a:t>Learn a crowd robot interaction model : When the robot is surrounded by multiple humans, it assigns lower importance scores to humans walking away, etc. 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ttention-based Deep Reinforcement Learning that consists of three modules: Interaction module (Interactions between the robot and each human), Pooling module (aggregates the interactions) and Planning module (models navigation in crowds)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gway </a:t>
                      </a:r>
                      <a:r>
                        <a:rPr lang="en-US" sz="1200" dirty="0" err="1"/>
                        <a:t>roboo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Loomo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3337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686044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A3E683-D813-4C96-B403-83F4FA8591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utonomous Social Distancing in Urban Environments using a Quadruped Robo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CB5428-A97A-4F88-BD60-BC01455BD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evant litera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F6BC6D-77A3-46A2-8C03-19153516BC7D}"/>
              </a:ext>
            </a:extLst>
          </p:cNvPr>
          <p:cNvSpPr txBox="1"/>
          <p:nvPr/>
        </p:nvSpPr>
        <p:spPr>
          <a:xfrm>
            <a:off x="469900" y="1391131"/>
            <a:ext cx="1113207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rtl="0">
              <a:spcBef>
                <a:spcPts val="0"/>
              </a:spcBef>
              <a:spcAft>
                <a:spcPts val="0"/>
              </a:spcAft>
            </a:pPr>
            <a:r>
              <a:rPr lang="en-US" sz="1200" u="sng" dirty="0">
                <a:effectLst/>
                <a:latin typeface="+mj-lt"/>
              </a:rPr>
              <a:t>Hardware used: 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effectLst/>
                <a:latin typeface="+mj-lt"/>
              </a:rPr>
              <a:t>Robosense</a:t>
            </a:r>
            <a:r>
              <a:rPr lang="en-US" sz="1200" dirty="0">
                <a:effectLst/>
                <a:latin typeface="+mj-lt"/>
              </a:rPr>
              <a:t> 3D LiDAR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Quadruped robot: </a:t>
            </a:r>
            <a:r>
              <a:rPr lang="en-US" sz="1200" dirty="0" err="1">
                <a:effectLst/>
                <a:latin typeface="+mj-lt"/>
              </a:rPr>
              <a:t>Laikago</a:t>
            </a:r>
            <a:endParaRPr lang="en-US" sz="1200" dirty="0">
              <a:effectLst/>
              <a:latin typeface="+mj-lt"/>
            </a:endParaRP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Four color cameras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Speaker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NVIDIA Jetson AGX Xavier as the vision computational module that supports a maximum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Intel NUC with Intel i5 8259U CPU: other tasks like mapping and localization would mostly consume CPU resources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Router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>
              <a:effectLst/>
              <a:latin typeface="+mj-lt"/>
            </a:endParaRPr>
          </a:p>
          <a:p>
            <a:pPr marL="0" marR="0" rtl="0">
              <a:spcBef>
                <a:spcPts val="0"/>
              </a:spcBef>
              <a:spcAft>
                <a:spcPts val="0"/>
              </a:spcAft>
            </a:pPr>
            <a:r>
              <a:rPr lang="en-US" sz="1200" u="sng" dirty="0">
                <a:effectLst/>
                <a:latin typeface="+mj-lt"/>
              </a:rPr>
              <a:t>Algorithms used: 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YOLO to detect pedestrians, and match sparse features with help of motion modeling algorithm F-RVO 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effectLst/>
                <a:latin typeface="+mj-lt"/>
              </a:rPr>
              <a:t>DeepSort</a:t>
            </a:r>
            <a:r>
              <a:rPr lang="en-US" sz="1200" dirty="0">
                <a:effectLst/>
                <a:latin typeface="+mj-lt"/>
              </a:rPr>
              <a:t> CNN : Track the robot’s nearby pedestrian groups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effectLst/>
                <a:latin typeface="+mj-lt"/>
              </a:rPr>
              <a:t>CrowdMove</a:t>
            </a:r>
            <a:r>
              <a:rPr lang="en-US" sz="1200" dirty="0">
                <a:effectLst/>
                <a:latin typeface="+mj-lt"/>
              </a:rPr>
              <a:t> algorithm: used to navigate the robot in highly dynamic environments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effectLst/>
                <a:latin typeface="+mj-lt"/>
              </a:rPr>
              <a:t>LeGOLOAM</a:t>
            </a:r>
            <a:r>
              <a:rPr lang="en-US" sz="1200" dirty="0">
                <a:effectLst/>
                <a:latin typeface="+mj-lt"/>
              </a:rPr>
              <a:t> algorithm used for Mapping and Localization</a:t>
            </a:r>
          </a:p>
          <a:p>
            <a:pPr marL="171450" marR="0" indent="-1714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effectLst/>
                <a:latin typeface="+mj-lt"/>
              </a:rPr>
              <a:t>Crowd-aware routing algorithm to allow robots to approach over-crowded pedestrian groups and effectively promote social distancing using verbal cues.</a:t>
            </a:r>
          </a:p>
          <a:p>
            <a:pPr marL="0" marR="0" rtl="0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2235339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95BA45-AE29-46FE-AB94-9FACB3499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6BE64C-8AD2-45D3-A653-7D4D7FD73C0B}"/>
              </a:ext>
            </a:extLst>
          </p:cNvPr>
          <p:cNvSpPr txBox="1"/>
          <p:nvPr/>
        </p:nvSpPr>
        <p:spPr>
          <a:xfrm>
            <a:off x="0" y="1333132"/>
            <a:ext cx="11563350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iterature review: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wards Generalization in Target-Driven Visual Navigation by Using Deep Reinforcement Learning 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 Survey on Visual Navigation for Artificial Agents With Deep 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ceiving Humans: from Monocular 3D Localization to Social Distanc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get-driven Visual Navigation in Indoor Scenes using Deep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 time mask detection on google edge TPU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altime Collision Avoidance for Mobile Robots in Dense Crowds using Implicit Multi-sensor Fusion and Deep Reinforcement Learning</a:t>
            </a:r>
          </a:p>
          <a:p>
            <a:pPr marL="685800" marR="0" lvl="0" indent="-3429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al-Oriented Obstacle Avoidance with Deep Reinforcement Learning in Continuous Action Space</a:t>
            </a:r>
          </a:p>
          <a:p>
            <a:pPr marL="571500" marR="0" lvl="0" indent="-22860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342900" marR="0" lvl="0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Verdana"/>
              </a:rPr>
              <a:t>Start with an implementation/ simulation for navigation with DRL</a:t>
            </a:r>
          </a:p>
        </p:txBody>
      </p:sp>
    </p:spTree>
    <p:extLst>
      <p:ext uri="{BB962C8B-B14F-4D97-AF65-F5344CB8AC3E}">
        <p14:creationId xmlns:p14="http://schemas.microsoft.com/office/powerpoint/2010/main" val="761982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85</TotalTime>
  <Words>974</Words>
  <Application>Microsoft Office PowerPoint</Application>
  <PresentationFormat>Widescreen</PresentationFormat>
  <Paragraphs>117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Office Theme</vt:lpstr>
      <vt:lpstr>1_Deloitte_US_Onscreen</vt:lpstr>
      <vt:lpstr>think-cell Slide</vt:lpstr>
      <vt:lpstr>PowerPoint Presentation</vt:lpstr>
      <vt:lpstr>Wat has been done</vt:lpstr>
      <vt:lpstr>Relevant literature</vt:lpstr>
      <vt:lpstr>Relevant literature</vt:lpstr>
      <vt:lpstr>Relevant literature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rge s</dc:creator>
  <cp:lastModifiedBy>serge s</cp:lastModifiedBy>
  <cp:revision>164</cp:revision>
  <dcterms:created xsi:type="dcterms:W3CDTF">2020-11-16T11:04:38Z</dcterms:created>
  <dcterms:modified xsi:type="dcterms:W3CDTF">2021-04-15T14:44:07Z</dcterms:modified>
</cp:coreProperties>
</file>